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5"/>
  </p:notesMasterIdLst>
  <p:sldIdLst>
    <p:sldId id="258" r:id="rId2"/>
    <p:sldId id="267" r:id="rId3"/>
    <p:sldId id="263" r:id="rId4"/>
    <p:sldId id="268" r:id="rId5"/>
    <p:sldId id="269" r:id="rId6"/>
    <p:sldId id="270" r:id="rId7"/>
    <p:sldId id="271" r:id="rId8"/>
    <p:sldId id="272" r:id="rId9"/>
    <p:sldId id="273" r:id="rId10"/>
    <p:sldId id="274" r:id="rId11"/>
    <p:sldId id="275" r:id="rId12"/>
    <p:sldId id="276" r:id="rId13"/>
    <p:sldId id="277" r:id="rId14"/>
  </p:sldIdLst>
  <p:sldSz cx="9144000" cy="6858000" type="screen4x3"/>
  <p:notesSz cx="7010400" cy="9296400"/>
  <p:custDataLst>
    <p:tags r:id="rId16"/>
  </p:custDataLst>
  <p:defaultTextStyle>
    <a:defPPr>
      <a:defRPr lang="es-C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29">
          <p15:clr>
            <a:srgbClr val="A4A3A4"/>
          </p15:clr>
        </p15:guide>
        <p15:guide id="2" orient="horz" pos="810">
          <p15:clr>
            <a:srgbClr val="A4A3A4"/>
          </p15:clr>
        </p15:guide>
        <p15:guide id="3" orient="horz" pos="1493">
          <p15:clr>
            <a:srgbClr val="A4A3A4"/>
          </p15:clr>
        </p15:guide>
        <p15:guide id="4" pos="470">
          <p15:clr>
            <a:srgbClr val="A4A3A4"/>
          </p15:clr>
        </p15:guide>
        <p15:guide id="5" pos="1327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8EAEE"/>
    <a:srgbClr val="CED2DC"/>
    <a:srgbClr val="CED2D2"/>
    <a:srgbClr val="FEF6F0"/>
    <a:srgbClr val="FBD5B5"/>
    <a:srgbClr val="B8CCE4"/>
    <a:srgbClr val="68CCE4"/>
    <a:srgbClr val="B9CDE5"/>
    <a:srgbClr val="95B3D7"/>
    <a:srgbClr val="1BA3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Estilo medio 2 - Énfasis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867" autoAdjust="0"/>
    <p:restoredTop sz="94639" autoAdjust="0"/>
  </p:normalViewPr>
  <p:slideViewPr>
    <p:cSldViewPr snapToGrid="0">
      <p:cViewPr varScale="1">
        <p:scale>
          <a:sx n="72" d="100"/>
          <a:sy n="72" d="100"/>
        </p:scale>
        <p:origin x="1518" y="72"/>
      </p:cViewPr>
      <p:guideLst>
        <p:guide orient="horz" pos="2629"/>
        <p:guide orient="horz" pos="810"/>
        <p:guide orient="horz" pos="1493"/>
        <p:guide pos="470"/>
        <p:guide pos="132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45720" cy="4572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C05DC3C3-82F0-4D9B-905B-D410E9D2B4EF}" type="datetimeFigureOut">
              <a:rPr lang="en-US" smtClean="0"/>
              <a:pPr/>
              <a:t>3/1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>
                <a:latin typeface="Candara"/>
                <a:sym typeface="Candara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>
                <a:latin typeface="Candara"/>
                <a:sym typeface="Candara"/>
              </a:defRPr>
            </a:lvl1pPr>
          </a:lstStyle>
          <a:p>
            <a:fld id="{922BCB6B-DDD0-410F-889F-FEC5002ABB1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91089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Candara"/>
        <a:ea typeface="+mn-ea"/>
        <a:cs typeface="+mn-cs"/>
        <a:sym typeface="Candara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22BCB6B-DDD0-410F-889F-FEC5002ABB1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34631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image" Target="../media/image5.png"/><Relationship Id="rId2" Type="http://schemas.openxmlformats.org/officeDocument/2006/relationships/tags" Target="../tags/tag10.xml"/><Relationship Id="rId16" Type="http://schemas.openxmlformats.org/officeDocument/2006/relationships/image" Target="../media/image4.jpeg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1.emf"/><Relationship Id="rId10" Type="http://schemas.openxmlformats.org/officeDocument/2006/relationships/tags" Target="../tags/tag18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1.emf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2.jpeg"/><Relationship Id="rId2" Type="http://schemas.openxmlformats.org/officeDocument/2006/relationships/tags" Target="../tags/tag24.xml"/><Relationship Id="rId1" Type="http://schemas.openxmlformats.org/officeDocument/2006/relationships/vmlDrawing" Target="../drawings/vmlDrawing4.vml"/><Relationship Id="rId6" Type="http://schemas.openxmlformats.org/officeDocument/2006/relationships/tags" Target="../tags/tag28.xml"/><Relationship Id="rId11" Type="http://schemas.openxmlformats.org/officeDocument/2006/relationships/image" Target="../media/image1.emf"/><Relationship Id="rId5" Type="http://schemas.openxmlformats.org/officeDocument/2006/relationships/tags" Target="../tags/tag27.xml"/><Relationship Id="rId10" Type="http://schemas.openxmlformats.org/officeDocument/2006/relationships/oleObject" Target="../embeddings/oleObject4.bin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4.xml"/><Relationship Id="rId7" Type="http://schemas.openxmlformats.org/officeDocument/2006/relationships/tags" Target="../tags/tag38.xml"/><Relationship Id="rId12" Type="http://schemas.openxmlformats.org/officeDocument/2006/relationships/image" Target="../media/image5.png"/><Relationship Id="rId2" Type="http://schemas.openxmlformats.org/officeDocument/2006/relationships/tags" Target="../tags/tag33.xml"/><Relationship Id="rId1" Type="http://schemas.openxmlformats.org/officeDocument/2006/relationships/vmlDrawing" Target="../drawings/vmlDrawing6.vml"/><Relationship Id="rId6" Type="http://schemas.openxmlformats.org/officeDocument/2006/relationships/tags" Target="../tags/tag37.xml"/><Relationship Id="rId11" Type="http://schemas.openxmlformats.org/officeDocument/2006/relationships/image" Target="../media/image4.jpeg"/><Relationship Id="rId5" Type="http://schemas.openxmlformats.org/officeDocument/2006/relationships/tags" Target="../tags/tag36.xml"/><Relationship Id="rId10" Type="http://schemas.openxmlformats.org/officeDocument/2006/relationships/image" Target="../media/image1.emf"/><Relationship Id="rId4" Type="http://schemas.openxmlformats.org/officeDocument/2006/relationships/tags" Target="../tags/tag35.xml"/><Relationship Id="rId9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orta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64386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10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14"/>
          <p:cNvSpPr/>
          <p:nvPr userDrawn="1">
            <p:custDataLst>
              <p:tags r:id="rId3"/>
            </p:custDataLst>
          </p:nvPr>
        </p:nvSpPr>
        <p:spPr>
          <a:xfrm>
            <a:off x="1" y="-9524"/>
            <a:ext cx="9144000" cy="3433762"/>
          </a:xfrm>
          <a:prstGeom prst="rect">
            <a:avLst/>
          </a:pr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 userDrawn="1">
            <p:custDataLst>
              <p:tags r:id="rId4"/>
            </p:custDataLst>
          </p:nvPr>
        </p:nvSpPr>
        <p:spPr>
          <a:xfrm>
            <a:off x="1838325" y="3383280"/>
            <a:ext cx="7305676" cy="47625"/>
          </a:xfrm>
          <a:prstGeom prst="rect">
            <a:avLst/>
          </a:prstGeom>
          <a:gradFill flip="none" rotWithShape="1">
            <a:gsLst>
              <a:gs pos="0">
                <a:schemeClr val="accent6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2" name="1 Título"/>
          <p:cNvSpPr>
            <a:spLocks noGrp="1"/>
          </p:cNvSpPr>
          <p:nvPr>
            <p:ph type="ctrTitle"/>
            <p:custDataLst>
              <p:tags r:id="rId5"/>
            </p:custDataLst>
          </p:nvPr>
        </p:nvSpPr>
        <p:spPr>
          <a:xfrm>
            <a:off x="2313084" y="1690686"/>
            <a:ext cx="5833110" cy="1470025"/>
          </a:xfrm>
        </p:spPr>
        <p:txBody>
          <a:bodyPr/>
          <a:lstStyle>
            <a:lvl1pPr algn="l">
              <a:defRPr sz="3600"/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2313084" y="3467100"/>
            <a:ext cx="5852160" cy="619125"/>
          </a:xfrm>
        </p:spPr>
        <p:txBody>
          <a:bodyPr lIns="0" tIns="0" rIns="0" bIns="0"/>
          <a:lstStyle>
            <a:lvl1pPr marL="0" indent="0" algn="l">
              <a:buNone/>
              <a:defRPr sz="1800" b="0">
                <a:solidFill>
                  <a:schemeClr val="accent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dirty="0"/>
              <a:t>Haga clic para modificar el estilo de subtítulo del patrón</a:t>
            </a:r>
            <a:endParaRPr lang="es-CO" dirty="0"/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2313084" y="4248150"/>
            <a:ext cx="3219450" cy="361950"/>
          </a:xfrm>
        </p:spPr>
        <p:txBody>
          <a:bodyPr lIns="0" tIns="0" rIns="0" bIns="0" anchor="ctr"/>
          <a:lstStyle>
            <a:lvl1pPr marL="0" indent="0" algn="l">
              <a:buNone/>
              <a:defRPr sz="1400" b="0">
                <a:solidFill>
                  <a:schemeClr val="accent3"/>
                </a:solidFill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6" name="Pentagon 5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989056" cy="4619624"/>
          </a:xfrm>
          <a:custGeom>
            <a:avLst/>
            <a:gdLst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410691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036980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750733 w 2095500"/>
              <a:gd name="connsiteY3" fmla="*/ 6867525 h 6867525"/>
              <a:gd name="connsiteX4" fmla="*/ 0 w 2095500"/>
              <a:gd name="connsiteY4" fmla="*/ 6867525 h 6867525"/>
              <a:gd name="connsiteX5" fmla="*/ 0 w 2095500"/>
              <a:gd name="connsiteY5" fmla="*/ 0 h 6867525"/>
              <a:gd name="connsiteX0" fmla="*/ 0 w 2095500"/>
              <a:gd name="connsiteY0" fmla="*/ 0 h 6867525"/>
              <a:gd name="connsiteX1" fmla="*/ 1410691 w 2095500"/>
              <a:gd name="connsiteY1" fmla="*/ 0 h 6867525"/>
              <a:gd name="connsiteX2" fmla="*/ 2095500 w 2095500"/>
              <a:gd name="connsiteY2" fmla="*/ 3433763 h 6867525"/>
              <a:gd name="connsiteX3" fmla="*/ 1592248 w 2095500"/>
              <a:gd name="connsiteY3" fmla="*/ 4622800 h 6867525"/>
              <a:gd name="connsiteX4" fmla="*/ 750733 w 2095500"/>
              <a:gd name="connsiteY4" fmla="*/ 6867525 h 6867525"/>
              <a:gd name="connsiteX5" fmla="*/ 0 w 2095500"/>
              <a:gd name="connsiteY5" fmla="*/ 6867525 h 6867525"/>
              <a:gd name="connsiteX6" fmla="*/ 0 w 2095500"/>
              <a:gd name="connsiteY6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58685 w 2103452"/>
              <a:gd name="connsiteY4" fmla="*/ 6867525 h 6867525"/>
              <a:gd name="connsiteX5" fmla="*/ 7952 w 2103452"/>
              <a:gd name="connsiteY5" fmla="*/ 6867525 h 6867525"/>
              <a:gd name="connsiteX6" fmla="*/ 0 w 2103452"/>
              <a:gd name="connsiteY6" fmla="*/ 4635500 h 6867525"/>
              <a:gd name="connsiteX7" fmla="*/ 7952 w 2103452"/>
              <a:gd name="connsiteY7" fmla="*/ 0 h 6867525"/>
              <a:gd name="connsiteX0" fmla="*/ 7952 w 2103452"/>
              <a:gd name="connsiteY0" fmla="*/ 0 h 6867525"/>
              <a:gd name="connsiteX1" fmla="*/ 1418643 w 2103452"/>
              <a:gd name="connsiteY1" fmla="*/ 0 h 6867525"/>
              <a:gd name="connsiteX2" fmla="*/ 2103452 w 2103452"/>
              <a:gd name="connsiteY2" fmla="*/ 3433763 h 6867525"/>
              <a:gd name="connsiteX3" fmla="*/ 1600200 w 2103452"/>
              <a:gd name="connsiteY3" fmla="*/ 4622800 h 6867525"/>
              <a:gd name="connsiteX4" fmla="*/ 7952 w 2103452"/>
              <a:gd name="connsiteY4" fmla="*/ 6867525 h 6867525"/>
              <a:gd name="connsiteX5" fmla="*/ 0 w 2103452"/>
              <a:gd name="connsiteY5" fmla="*/ 4635500 h 6867525"/>
              <a:gd name="connsiteX6" fmla="*/ 7952 w 2103452"/>
              <a:gd name="connsiteY6" fmla="*/ 0 h 6867525"/>
              <a:gd name="connsiteX0" fmla="*/ 7952 w 2103452"/>
              <a:gd name="connsiteY0" fmla="*/ 0 h 4635500"/>
              <a:gd name="connsiteX1" fmla="*/ 1418643 w 2103452"/>
              <a:gd name="connsiteY1" fmla="*/ 0 h 4635500"/>
              <a:gd name="connsiteX2" fmla="*/ 2103452 w 2103452"/>
              <a:gd name="connsiteY2" fmla="*/ 3433763 h 4635500"/>
              <a:gd name="connsiteX3" fmla="*/ 1600200 w 2103452"/>
              <a:gd name="connsiteY3" fmla="*/ 4622800 h 4635500"/>
              <a:gd name="connsiteX4" fmla="*/ 0 w 2103452"/>
              <a:gd name="connsiteY4" fmla="*/ 4635500 h 4635500"/>
              <a:gd name="connsiteX5" fmla="*/ 7952 w 2103452"/>
              <a:gd name="connsiteY5" fmla="*/ 0 h 4635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103452" h="4635500">
                <a:moveTo>
                  <a:pt x="7952" y="0"/>
                </a:moveTo>
                <a:lnTo>
                  <a:pt x="1418643" y="0"/>
                </a:lnTo>
                <a:lnTo>
                  <a:pt x="2103452" y="3433763"/>
                </a:lnTo>
                <a:lnTo>
                  <a:pt x="1600200" y="4622800"/>
                </a:lnTo>
                <a:lnTo>
                  <a:pt x="0" y="4635500"/>
                </a:lnTo>
                <a:cubicBezTo>
                  <a:pt x="2651" y="3090333"/>
                  <a:pt x="5301" y="1545167"/>
                  <a:pt x="7952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22" name="Group 21"/>
          <p:cNvGrpSpPr/>
          <p:nvPr userDrawn="1">
            <p:custDataLst>
              <p:tags r:id="rId9"/>
            </p:custDataLst>
          </p:nvPr>
        </p:nvGrpSpPr>
        <p:grpSpPr>
          <a:xfrm>
            <a:off x="-1057274" y="-484331"/>
            <a:ext cx="3046330" cy="4954730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18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9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16" name="Rectangle 15"/>
          <p:cNvSpPr/>
          <p:nvPr userDrawn="1">
            <p:custDataLst>
              <p:tags r:id="rId10"/>
            </p:custDataLst>
          </p:nvPr>
        </p:nvSpPr>
        <p:spPr>
          <a:xfrm>
            <a:off x="1" y="4619624"/>
            <a:ext cx="9144000" cy="224313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pic>
        <p:nvPicPr>
          <p:cNvPr id="8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 rotWithShape="1">
          <a:blip r:embed="rId16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5498248" y="5557688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12"/>
            </p:custDataLst>
          </p:nvPr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7593" y="5666307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Rectangle 24"/>
          <p:cNvSpPr/>
          <p:nvPr userDrawn="1"/>
        </p:nvSpPr>
        <p:spPr>
          <a:xfrm>
            <a:off x="0" y="4617720"/>
            <a:ext cx="9144001" cy="47625"/>
          </a:xfrm>
          <a:prstGeom prst="rect">
            <a:avLst/>
          </a:prstGeom>
          <a:gradFill flip="none" rotWithShape="1">
            <a:gsLst>
              <a:gs pos="0">
                <a:schemeClr val="accent5"/>
              </a:gs>
              <a:gs pos="100000">
                <a:schemeClr val="accent5">
                  <a:lumMod val="20000"/>
                  <a:lumOff val="8000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28146757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54186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11" name="Title 10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5881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ido,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3309448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/>
          <p:cNvSpPr/>
          <p:nvPr userDrawn="1">
            <p:custDataLst>
              <p:tags r:id="rId3"/>
            </p:custDataLst>
          </p:nvPr>
        </p:nvSpPr>
        <p:spPr>
          <a:xfrm>
            <a:off x="477678" y="0"/>
            <a:ext cx="8666321" cy="1200149"/>
          </a:xfrm>
          <a:custGeom>
            <a:avLst/>
            <a:gdLst>
              <a:gd name="connsiteX0" fmla="*/ 0 w 8404860"/>
              <a:gd name="connsiteY0" fmla="*/ 0 h 1209674"/>
              <a:gd name="connsiteX1" fmla="*/ 8404860 w 8404860"/>
              <a:gd name="connsiteY1" fmla="*/ 0 h 1209674"/>
              <a:gd name="connsiteX2" fmla="*/ 8404860 w 8404860"/>
              <a:gd name="connsiteY2" fmla="*/ 1209674 h 1209674"/>
              <a:gd name="connsiteX3" fmla="*/ 0 w 8404860"/>
              <a:gd name="connsiteY3" fmla="*/ 1209674 h 1209674"/>
              <a:gd name="connsiteX4" fmla="*/ 0 w 8404860"/>
              <a:gd name="connsiteY4" fmla="*/ 0 h 1209674"/>
              <a:gd name="connsiteX0" fmla="*/ 0 w 8656320"/>
              <a:gd name="connsiteY0" fmla="*/ 0 h 1217294"/>
              <a:gd name="connsiteX1" fmla="*/ 8656320 w 8656320"/>
              <a:gd name="connsiteY1" fmla="*/ 7620 h 1217294"/>
              <a:gd name="connsiteX2" fmla="*/ 8656320 w 8656320"/>
              <a:gd name="connsiteY2" fmla="*/ 1217294 h 1217294"/>
              <a:gd name="connsiteX3" fmla="*/ 251460 w 8656320"/>
              <a:gd name="connsiteY3" fmla="*/ 1217294 h 1217294"/>
              <a:gd name="connsiteX4" fmla="*/ 0 w 8656320"/>
              <a:gd name="connsiteY4" fmla="*/ 0 h 1217294"/>
              <a:gd name="connsiteX0" fmla="*/ 0 w 8663940"/>
              <a:gd name="connsiteY0" fmla="*/ 15240 h 1209674"/>
              <a:gd name="connsiteX1" fmla="*/ 8663940 w 8663940"/>
              <a:gd name="connsiteY1" fmla="*/ 0 h 1209674"/>
              <a:gd name="connsiteX2" fmla="*/ 8663940 w 8663940"/>
              <a:gd name="connsiteY2" fmla="*/ 1209674 h 1209674"/>
              <a:gd name="connsiteX3" fmla="*/ 259080 w 8663940"/>
              <a:gd name="connsiteY3" fmla="*/ 1209674 h 1209674"/>
              <a:gd name="connsiteX4" fmla="*/ 0 w 8663940"/>
              <a:gd name="connsiteY4" fmla="*/ 15240 h 1209674"/>
              <a:gd name="connsiteX0" fmla="*/ 0 w 8656796"/>
              <a:gd name="connsiteY0" fmla="*/ 5715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5715 h 1209674"/>
              <a:gd name="connsiteX0" fmla="*/ 0 w 8656796"/>
              <a:gd name="connsiteY0" fmla="*/ 8096 h 1209674"/>
              <a:gd name="connsiteX1" fmla="*/ 8656796 w 8656796"/>
              <a:gd name="connsiteY1" fmla="*/ 0 h 1209674"/>
              <a:gd name="connsiteX2" fmla="*/ 8656796 w 8656796"/>
              <a:gd name="connsiteY2" fmla="*/ 1209674 h 1209674"/>
              <a:gd name="connsiteX3" fmla="*/ 251936 w 8656796"/>
              <a:gd name="connsiteY3" fmla="*/ 1209674 h 1209674"/>
              <a:gd name="connsiteX4" fmla="*/ 0 w 8656796"/>
              <a:gd name="connsiteY4" fmla="*/ 8096 h 1209674"/>
              <a:gd name="connsiteX0" fmla="*/ 0 w 8666321"/>
              <a:gd name="connsiteY0" fmla="*/ 0 h 1211103"/>
              <a:gd name="connsiteX1" fmla="*/ 8666321 w 8666321"/>
              <a:gd name="connsiteY1" fmla="*/ 1429 h 1211103"/>
              <a:gd name="connsiteX2" fmla="*/ 8666321 w 8666321"/>
              <a:gd name="connsiteY2" fmla="*/ 1211103 h 1211103"/>
              <a:gd name="connsiteX3" fmla="*/ 261461 w 8666321"/>
              <a:gd name="connsiteY3" fmla="*/ 1211103 h 1211103"/>
              <a:gd name="connsiteX4" fmla="*/ 0 w 8666321"/>
              <a:gd name="connsiteY4" fmla="*/ 0 h 1211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666321" h="1211103">
                <a:moveTo>
                  <a:pt x="0" y="0"/>
                </a:moveTo>
                <a:lnTo>
                  <a:pt x="8666321" y="1429"/>
                </a:lnTo>
                <a:lnTo>
                  <a:pt x="8666321" y="1211103"/>
                </a:lnTo>
                <a:lnTo>
                  <a:pt x="261461" y="1211103"/>
                </a:lnTo>
                <a:lnTo>
                  <a:pt x="0" y="0"/>
                </a:lnTo>
                <a:close/>
              </a:path>
            </a:pathLst>
          </a:custGeom>
          <a:solidFill>
            <a:srgbClr val="E4EB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819150" y="433512"/>
            <a:ext cx="7738274" cy="748669"/>
          </a:xfrm>
        </p:spPr>
        <p:txBody>
          <a:bodyPr/>
          <a:lstStyle>
            <a:lvl1pPr>
              <a:defRPr sz="2400" b="1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2" name="Group 21"/>
          <p:cNvGrpSpPr/>
          <p:nvPr userDrawn="1">
            <p:custDataLst>
              <p:tags r:id="rId5"/>
            </p:custDataLst>
          </p:nvPr>
        </p:nvGrpSpPr>
        <p:grpSpPr>
          <a:xfrm>
            <a:off x="-352425" y="-398782"/>
            <a:ext cx="983076" cy="1598932"/>
            <a:chOff x="-1250950" y="-268289"/>
            <a:chExt cx="3263900" cy="5308600"/>
          </a:xfrm>
          <a:solidFill>
            <a:schemeClr val="accent3">
              <a:lumMod val="20000"/>
              <a:lumOff val="80000"/>
            </a:schemeClr>
          </a:solidFill>
        </p:grpSpPr>
        <p:sp>
          <p:nvSpPr>
            <p:cNvPr id="2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2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solidFill>
              <a:srgbClr val="E4EBF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  <p:sp>
        <p:nvSpPr>
          <p:cNvPr id="14" name="Rectangle 13"/>
          <p:cNvSpPr/>
          <p:nvPr userDrawn="1">
            <p:custDataLst>
              <p:tags r:id="rId6"/>
            </p:custDataLst>
          </p:nvPr>
        </p:nvSpPr>
        <p:spPr>
          <a:xfrm rot="10800000" flipH="1" flipV="1">
            <a:off x="-1" y="6724298"/>
            <a:ext cx="7038975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6693696" y="6197601"/>
            <a:ext cx="1863728" cy="667386"/>
            <a:chOff x="6855280" y="6288821"/>
            <a:chExt cx="1703774" cy="576165"/>
          </a:xfrm>
        </p:grpSpPr>
        <p:pic>
          <p:nvPicPr>
            <p:cNvPr id="16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2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7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8"/>
              </p:custDataLst>
            </p:nvPr>
          </p:nvPicPr>
          <p:blipFill>
            <a:blip r:embed="rId13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980896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20472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3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5 Marcador de número de diapositiva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29963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cio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72275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8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06613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1 Título"/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2374900" y="3683000"/>
            <a:ext cx="5956300" cy="1016000"/>
          </a:xfrm>
        </p:spPr>
        <p:txBody>
          <a:bodyPr anchor="t"/>
          <a:lstStyle>
            <a:lvl1pPr algn="l">
              <a:defRPr sz="3200" b="1" cap="none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s-ES" dirty="0"/>
              <a:t>Haga clic para modificar el estilo de título del patrón</a:t>
            </a:r>
            <a:endParaRPr lang="es-CO" dirty="0"/>
          </a:p>
        </p:txBody>
      </p:sp>
      <p:pic>
        <p:nvPicPr>
          <p:cNvPr id="11" name="E719C35A-4CD6-4178-B0D0-8DA208F1799A" descr="E719C35A-4CD6-4178-B0D0-8DA208F1799A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11" cstate="print">
            <a:clrChange>
              <a:clrFrom>
                <a:srgbClr val="FFFFFE"/>
              </a:clrFrom>
              <a:clrTo>
                <a:srgbClr val="FFFF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10" t="12070" r="20026" b="11812"/>
          <a:stretch/>
        </p:blipFill>
        <p:spPr bwMode="auto">
          <a:xfrm>
            <a:off x="5358548" y="5811900"/>
            <a:ext cx="1122645" cy="1046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7" descr="http://www.mininterior.gov.co/sites/default/files/galeria-imagenes/2014-logo_web_eslogan.png"/>
          <p:cNvPicPr>
            <a:picLocks noChangeAspect="1" noChangeArrowheads="1"/>
          </p:cNvPicPr>
          <p:nvPr userDrawn="1">
            <p:custDataLst>
              <p:tags r:id="rId6"/>
            </p:custDataLst>
          </p:nvPr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47893" y="5920519"/>
            <a:ext cx="1733700" cy="82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/>
          <p:cNvGrpSpPr/>
          <p:nvPr userDrawn="1">
            <p:custDataLst>
              <p:tags r:id="rId7"/>
            </p:custDataLst>
          </p:nvPr>
        </p:nvGrpSpPr>
        <p:grpSpPr>
          <a:xfrm>
            <a:off x="391016" y="4632333"/>
            <a:ext cx="1368413" cy="2225667"/>
            <a:chOff x="-1250950" y="-268289"/>
            <a:chExt cx="3263900" cy="5308600"/>
          </a:xfrm>
          <a:solidFill>
            <a:schemeClr val="accent5">
              <a:lumMod val="60000"/>
              <a:lumOff val="40000"/>
              <a:alpha val="50000"/>
            </a:schemeClr>
          </a:solidFill>
        </p:grpSpPr>
        <p:sp>
          <p:nvSpPr>
            <p:cNvPr id="13" name="Freeform 27"/>
            <p:cNvSpPr>
              <a:spLocks noEditPoints="1"/>
            </p:cNvSpPr>
            <p:nvPr userDrawn="1"/>
          </p:nvSpPr>
          <p:spPr bwMode="auto">
            <a:xfrm>
              <a:off x="-784225" y="-268289"/>
              <a:ext cx="2327275" cy="3987800"/>
            </a:xfrm>
            <a:custGeom>
              <a:avLst/>
              <a:gdLst>
                <a:gd name="T0" fmla="*/ 0 w 1466"/>
                <a:gd name="T1" fmla="*/ 2506 h 2512"/>
                <a:gd name="T2" fmla="*/ 48 w 1466"/>
                <a:gd name="T3" fmla="*/ 2254 h 2512"/>
                <a:gd name="T4" fmla="*/ 300 w 1466"/>
                <a:gd name="T5" fmla="*/ 916 h 2512"/>
                <a:gd name="T6" fmla="*/ 428 w 1466"/>
                <a:gd name="T7" fmla="*/ 240 h 2512"/>
                <a:gd name="T8" fmla="*/ 436 w 1466"/>
                <a:gd name="T9" fmla="*/ 208 h 2512"/>
                <a:gd name="T10" fmla="*/ 454 w 1466"/>
                <a:gd name="T11" fmla="*/ 150 h 2512"/>
                <a:gd name="T12" fmla="*/ 480 w 1466"/>
                <a:gd name="T13" fmla="*/ 104 h 2512"/>
                <a:gd name="T14" fmla="*/ 514 w 1466"/>
                <a:gd name="T15" fmla="*/ 66 h 2512"/>
                <a:gd name="T16" fmla="*/ 554 w 1466"/>
                <a:gd name="T17" fmla="*/ 38 h 2512"/>
                <a:gd name="T18" fmla="*/ 602 w 1466"/>
                <a:gd name="T19" fmla="*/ 18 h 2512"/>
                <a:gd name="T20" fmla="*/ 662 w 1466"/>
                <a:gd name="T21" fmla="*/ 6 h 2512"/>
                <a:gd name="T22" fmla="*/ 730 w 1466"/>
                <a:gd name="T23" fmla="*/ 0 h 2512"/>
                <a:gd name="T24" fmla="*/ 768 w 1466"/>
                <a:gd name="T25" fmla="*/ 2 h 2512"/>
                <a:gd name="T26" fmla="*/ 826 w 1466"/>
                <a:gd name="T27" fmla="*/ 6 h 2512"/>
                <a:gd name="T28" fmla="*/ 876 w 1466"/>
                <a:gd name="T29" fmla="*/ 20 h 2512"/>
                <a:gd name="T30" fmla="*/ 922 w 1466"/>
                <a:gd name="T31" fmla="*/ 40 h 2512"/>
                <a:gd name="T32" fmla="*/ 958 w 1466"/>
                <a:gd name="T33" fmla="*/ 70 h 2512"/>
                <a:gd name="T34" fmla="*/ 990 w 1466"/>
                <a:gd name="T35" fmla="*/ 104 h 2512"/>
                <a:gd name="T36" fmla="*/ 1014 w 1466"/>
                <a:gd name="T37" fmla="*/ 148 h 2512"/>
                <a:gd name="T38" fmla="*/ 1034 w 1466"/>
                <a:gd name="T39" fmla="*/ 198 h 2512"/>
                <a:gd name="T40" fmla="*/ 1048 w 1466"/>
                <a:gd name="T41" fmla="*/ 256 h 2512"/>
                <a:gd name="T42" fmla="*/ 1162 w 1466"/>
                <a:gd name="T43" fmla="*/ 866 h 2512"/>
                <a:gd name="T44" fmla="*/ 1278 w 1466"/>
                <a:gd name="T45" fmla="*/ 1478 h 2512"/>
                <a:gd name="T46" fmla="*/ 1464 w 1466"/>
                <a:gd name="T47" fmla="*/ 2464 h 2512"/>
                <a:gd name="T48" fmla="*/ 1466 w 1466"/>
                <a:gd name="T49" fmla="*/ 2478 h 2512"/>
                <a:gd name="T50" fmla="*/ 1464 w 1466"/>
                <a:gd name="T51" fmla="*/ 2496 h 2512"/>
                <a:gd name="T52" fmla="*/ 1454 w 1466"/>
                <a:gd name="T53" fmla="*/ 2508 h 2512"/>
                <a:gd name="T54" fmla="*/ 1436 w 1466"/>
                <a:gd name="T55" fmla="*/ 2512 h 2512"/>
                <a:gd name="T56" fmla="*/ 1424 w 1466"/>
                <a:gd name="T57" fmla="*/ 2512 h 2512"/>
                <a:gd name="T58" fmla="*/ 40 w 1466"/>
                <a:gd name="T59" fmla="*/ 2512 h 2512"/>
                <a:gd name="T60" fmla="*/ 0 w 1466"/>
                <a:gd name="T61" fmla="*/ 2506 h 2512"/>
                <a:gd name="T62" fmla="*/ 738 w 1466"/>
                <a:gd name="T63" fmla="*/ 886 h 2512"/>
                <a:gd name="T64" fmla="*/ 720 w 1466"/>
                <a:gd name="T65" fmla="*/ 888 h 2512"/>
                <a:gd name="T66" fmla="*/ 538 w 1466"/>
                <a:gd name="T67" fmla="*/ 2064 h 2512"/>
                <a:gd name="T68" fmla="*/ 918 w 1466"/>
                <a:gd name="T69" fmla="*/ 2064 h 2512"/>
                <a:gd name="T70" fmla="*/ 738 w 1466"/>
                <a:gd name="T71" fmla="*/ 886 h 2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466" h="2512">
                  <a:moveTo>
                    <a:pt x="0" y="2506"/>
                  </a:moveTo>
                  <a:lnTo>
                    <a:pt x="0" y="2506"/>
                  </a:lnTo>
                  <a:lnTo>
                    <a:pt x="48" y="2254"/>
                  </a:lnTo>
                  <a:lnTo>
                    <a:pt x="48" y="2254"/>
                  </a:lnTo>
                  <a:lnTo>
                    <a:pt x="300" y="916"/>
                  </a:lnTo>
                  <a:lnTo>
                    <a:pt x="300" y="916"/>
                  </a:lnTo>
                  <a:lnTo>
                    <a:pt x="364" y="578"/>
                  </a:lnTo>
                  <a:lnTo>
                    <a:pt x="428" y="240"/>
                  </a:lnTo>
                  <a:lnTo>
                    <a:pt x="428" y="240"/>
                  </a:lnTo>
                  <a:lnTo>
                    <a:pt x="436" y="208"/>
                  </a:lnTo>
                  <a:lnTo>
                    <a:pt x="444" y="178"/>
                  </a:lnTo>
                  <a:lnTo>
                    <a:pt x="454" y="150"/>
                  </a:lnTo>
                  <a:lnTo>
                    <a:pt x="466" y="126"/>
                  </a:lnTo>
                  <a:lnTo>
                    <a:pt x="480" y="104"/>
                  </a:lnTo>
                  <a:lnTo>
                    <a:pt x="496" y="84"/>
                  </a:lnTo>
                  <a:lnTo>
                    <a:pt x="514" y="66"/>
                  </a:lnTo>
                  <a:lnTo>
                    <a:pt x="532" y="50"/>
                  </a:lnTo>
                  <a:lnTo>
                    <a:pt x="554" y="38"/>
                  </a:lnTo>
                  <a:lnTo>
                    <a:pt x="578" y="26"/>
                  </a:lnTo>
                  <a:lnTo>
                    <a:pt x="602" y="18"/>
                  </a:lnTo>
                  <a:lnTo>
                    <a:pt x="630" y="10"/>
                  </a:lnTo>
                  <a:lnTo>
                    <a:pt x="662" y="6"/>
                  </a:lnTo>
                  <a:lnTo>
                    <a:pt x="694" y="2"/>
                  </a:lnTo>
                  <a:lnTo>
                    <a:pt x="730" y="0"/>
                  </a:lnTo>
                  <a:lnTo>
                    <a:pt x="768" y="2"/>
                  </a:lnTo>
                  <a:lnTo>
                    <a:pt x="768" y="2"/>
                  </a:lnTo>
                  <a:lnTo>
                    <a:pt x="798" y="4"/>
                  </a:lnTo>
                  <a:lnTo>
                    <a:pt x="826" y="6"/>
                  </a:lnTo>
                  <a:lnTo>
                    <a:pt x="852" y="12"/>
                  </a:lnTo>
                  <a:lnTo>
                    <a:pt x="876" y="20"/>
                  </a:lnTo>
                  <a:lnTo>
                    <a:pt x="900" y="30"/>
                  </a:lnTo>
                  <a:lnTo>
                    <a:pt x="922" y="40"/>
                  </a:lnTo>
                  <a:lnTo>
                    <a:pt x="940" y="54"/>
                  </a:lnTo>
                  <a:lnTo>
                    <a:pt x="958" y="70"/>
                  </a:lnTo>
                  <a:lnTo>
                    <a:pt x="974" y="86"/>
                  </a:lnTo>
                  <a:lnTo>
                    <a:pt x="990" y="104"/>
                  </a:lnTo>
                  <a:lnTo>
                    <a:pt x="1002" y="126"/>
                  </a:lnTo>
                  <a:lnTo>
                    <a:pt x="1014" y="148"/>
                  </a:lnTo>
                  <a:lnTo>
                    <a:pt x="1026" y="172"/>
                  </a:lnTo>
                  <a:lnTo>
                    <a:pt x="1034" y="198"/>
                  </a:lnTo>
                  <a:lnTo>
                    <a:pt x="1042" y="226"/>
                  </a:lnTo>
                  <a:lnTo>
                    <a:pt x="1048" y="256"/>
                  </a:lnTo>
                  <a:lnTo>
                    <a:pt x="1048" y="256"/>
                  </a:lnTo>
                  <a:lnTo>
                    <a:pt x="1162" y="866"/>
                  </a:lnTo>
                  <a:lnTo>
                    <a:pt x="1278" y="1478"/>
                  </a:lnTo>
                  <a:lnTo>
                    <a:pt x="1278" y="1478"/>
                  </a:lnTo>
                  <a:lnTo>
                    <a:pt x="1370" y="1970"/>
                  </a:lnTo>
                  <a:lnTo>
                    <a:pt x="1464" y="2464"/>
                  </a:lnTo>
                  <a:lnTo>
                    <a:pt x="1464" y="2464"/>
                  </a:lnTo>
                  <a:lnTo>
                    <a:pt x="1466" y="2478"/>
                  </a:lnTo>
                  <a:lnTo>
                    <a:pt x="1466" y="2488"/>
                  </a:lnTo>
                  <a:lnTo>
                    <a:pt x="1464" y="2496"/>
                  </a:lnTo>
                  <a:lnTo>
                    <a:pt x="1460" y="2502"/>
                  </a:lnTo>
                  <a:lnTo>
                    <a:pt x="1454" y="2508"/>
                  </a:lnTo>
                  <a:lnTo>
                    <a:pt x="1446" y="2510"/>
                  </a:lnTo>
                  <a:lnTo>
                    <a:pt x="1436" y="2512"/>
                  </a:lnTo>
                  <a:lnTo>
                    <a:pt x="1424" y="2512"/>
                  </a:lnTo>
                  <a:lnTo>
                    <a:pt x="1424" y="2512"/>
                  </a:lnTo>
                  <a:lnTo>
                    <a:pt x="40" y="2512"/>
                  </a:lnTo>
                  <a:lnTo>
                    <a:pt x="40" y="2512"/>
                  </a:lnTo>
                  <a:lnTo>
                    <a:pt x="22" y="2510"/>
                  </a:lnTo>
                  <a:lnTo>
                    <a:pt x="0" y="2506"/>
                  </a:lnTo>
                  <a:lnTo>
                    <a:pt x="0" y="2506"/>
                  </a:lnTo>
                  <a:close/>
                  <a:moveTo>
                    <a:pt x="738" y="886"/>
                  </a:moveTo>
                  <a:lnTo>
                    <a:pt x="738" y="886"/>
                  </a:lnTo>
                  <a:lnTo>
                    <a:pt x="720" y="888"/>
                  </a:lnTo>
                  <a:lnTo>
                    <a:pt x="720" y="888"/>
                  </a:lnTo>
                  <a:lnTo>
                    <a:pt x="538" y="2064"/>
                  </a:lnTo>
                  <a:lnTo>
                    <a:pt x="538" y="2064"/>
                  </a:lnTo>
                  <a:lnTo>
                    <a:pt x="918" y="2064"/>
                  </a:lnTo>
                  <a:lnTo>
                    <a:pt x="918" y="2064"/>
                  </a:lnTo>
                  <a:lnTo>
                    <a:pt x="738" y="886"/>
                  </a:lnTo>
                  <a:lnTo>
                    <a:pt x="738" y="8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  <p:sp>
          <p:nvSpPr>
            <p:cNvPr id="14" name="Freeform 28"/>
            <p:cNvSpPr>
              <a:spLocks/>
            </p:cNvSpPr>
            <p:nvPr userDrawn="1"/>
          </p:nvSpPr>
          <p:spPr bwMode="auto">
            <a:xfrm>
              <a:off x="-1250950" y="4198936"/>
              <a:ext cx="3263900" cy="841375"/>
            </a:xfrm>
            <a:custGeom>
              <a:avLst/>
              <a:gdLst>
                <a:gd name="T0" fmla="*/ 1028 w 2056"/>
                <a:gd name="T1" fmla="*/ 528 h 530"/>
                <a:gd name="T2" fmla="*/ 62 w 2056"/>
                <a:gd name="T3" fmla="*/ 530 h 530"/>
                <a:gd name="T4" fmla="*/ 46 w 2056"/>
                <a:gd name="T5" fmla="*/ 530 h 530"/>
                <a:gd name="T6" fmla="*/ 20 w 2056"/>
                <a:gd name="T7" fmla="*/ 524 h 530"/>
                <a:gd name="T8" fmla="*/ 6 w 2056"/>
                <a:gd name="T9" fmla="*/ 510 h 530"/>
                <a:gd name="T10" fmla="*/ 0 w 2056"/>
                <a:gd name="T11" fmla="*/ 484 h 530"/>
                <a:gd name="T12" fmla="*/ 0 w 2056"/>
                <a:gd name="T13" fmla="*/ 468 h 530"/>
                <a:gd name="T14" fmla="*/ 2 w 2056"/>
                <a:gd name="T15" fmla="*/ 408 h 530"/>
                <a:gd name="T16" fmla="*/ 10 w 2056"/>
                <a:gd name="T17" fmla="*/ 382 h 530"/>
                <a:gd name="T18" fmla="*/ 20 w 2056"/>
                <a:gd name="T19" fmla="*/ 372 h 530"/>
                <a:gd name="T20" fmla="*/ 44 w 2056"/>
                <a:gd name="T21" fmla="*/ 364 h 530"/>
                <a:gd name="T22" fmla="*/ 104 w 2056"/>
                <a:gd name="T23" fmla="*/ 362 h 530"/>
                <a:gd name="T24" fmla="*/ 116 w 2056"/>
                <a:gd name="T25" fmla="*/ 360 h 530"/>
                <a:gd name="T26" fmla="*/ 134 w 2056"/>
                <a:gd name="T27" fmla="*/ 354 h 530"/>
                <a:gd name="T28" fmla="*/ 146 w 2056"/>
                <a:gd name="T29" fmla="*/ 342 h 530"/>
                <a:gd name="T30" fmla="*/ 156 w 2056"/>
                <a:gd name="T31" fmla="*/ 314 h 530"/>
                <a:gd name="T32" fmla="*/ 180 w 2056"/>
                <a:gd name="T33" fmla="*/ 182 h 530"/>
                <a:gd name="T34" fmla="*/ 204 w 2056"/>
                <a:gd name="T35" fmla="*/ 52 h 530"/>
                <a:gd name="T36" fmla="*/ 212 w 2056"/>
                <a:gd name="T37" fmla="*/ 28 h 530"/>
                <a:gd name="T38" fmla="*/ 222 w 2056"/>
                <a:gd name="T39" fmla="*/ 12 h 530"/>
                <a:gd name="T40" fmla="*/ 240 w 2056"/>
                <a:gd name="T41" fmla="*/ 4 h 530"/>
                <a:gd name="T42" fmla="*/ 264 w 2056"/>
                <a:gd name="T43" fmla="*/ 0 h 530"/>
                <a:gd name="T44" fmla="*/ 1030 w 2056"/>
                <a:gd name="T45" fmla="*/ 2 h 530"/>
                <a:gd name="T46" fmla="*/ 1794 w 2056"/>
                <a:gd name="T47" fmla="*/ 2 h 530"/>
                <a:gd name="T48" fmla="*/ 1818 w 2056"/>
                <a:gd name="T49" fmla="*/ 4 h 530"/>
                <a:gd name="T50" fmla="*/ 1834 w 2056"/>
                <a:gd name="T51" fmla="*/ 12 h 530"/>
                <a:gd name="T52" fmla="*/ 1846 w 2056"/>
                <a:gd name="T53" fmla="*/ 26 h 530"/>
                <a:gd name="T54" fmla="*/ 1852 w 2056"/>
                <a:gd name="T55" fmla="*/ 48 h 530"/>
                <a:gd name="T56" fmla="*/ 1876 w 2056"/>
                <a:gd name="T57" fmla="*/ 180 h 530"/>
                <a:gd name="T58" fmla="*/ 1900 w 2056"/>
                <a:gd name="T59" fmla="*/ 310 h 530"/>
                <a:gd name="T60" fmla="*/ 1908 w 2056"/>
                <a:gd name="T61" fmla="*/ 334 h 530"/>
                <a:gd name="T62" fmla="*/ 1918 w 2056"/>
                <a:gd name="T63" fmla="*/ 350 h 530"/>
                <a:gd name="T64" fmla="*/ 1936 w 2056"/>
                <a:gd name="T65" fmla="*/ 358 h 530"/>
                <a:gd name="T66" fmla="*/ 1962 w 2056"/>
                <a:gd name="T67" fmla="*/ 362 h 530"/>
                <a:gd name="T68" fmla="*/ 1992 w 2056"/>
                <a:gd name="T69" fmla="*/ 362 h 530"/>
                <a:gd name="T70" fmla="*/ 2034 w 2056"/>
                <a:gd name="T71" fmla="*/ 366 h 530"/>
                <a:gd name="T72" fmla="*/ 2044 w 2056"/>
                <a:gd name="T73" fmla="*/ 374 h 530"/>
                <a:gd name="T74" fmla="*/ 2052 w 2056"/>
                <a:gd name="T75" fmla="*/ 384 h 530"/>
                <a:gd name="T76" fmla="*/ 2056 w 2056"/>
                <a:gd name="T77" fmla="*/ 426 h 530"/>
                <a:gd name="T78" fmla="*/ 2056 w 2056"/>
                <a:gd name="T79" fmla="*/ 456 h 530"/>
                <a:gd name="T80" fmla="*/ 2054 w 2056"/>
                <a:gd name="T81" fmla="*/ 498 h 530"/>
                <a:gd name="T82" fmla="*/ 2048 w 2056"/>
                <a:gd name="T83" fmla="*/ 520 h 530"/>
                <a:gd name="T84" fmla="*/ 2026 w 2056"/>
                <a:gd name="T85" fmla="*/ 528 h 530"/>
                <a:gd name="T86" fmla="*/ 1986 w 2056"/>
                <a:gd name="T87" fmla="*/ 528 h 530"/>
                <a:gd name="T88" fmla="*/ 1028 w 2056"/>
                <a:gd name="T89" fmla="*/ 528 h 5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2056" h="530">
                  <a:moveTo>
                    <a:pt x="1028" y="528"/>
                  </a:moveTo>
                  <a:lnTo>
                    <a:pt x="1028" y="528"/>
                  </a:lnTo>
                  <a:lnTo>
                    <a:pt x="546" y="528"/>
                  </a:lnTo>
                  <a:lnTo>
                    <a:pt x="62" y="530"/>
                  </a:lnTo>
                  <a:lnTo>
                    <a:pt x="62" y="530"/>
                  </a:lnTo>
                  <a:lnTo>
                    <a:pt x="46" y="530"/>
                  </a:lnTo>
                  <a:lnTo>
                    <a:pt x="32" y="528"/>
                  </a:lnTo>
                  <a:lnTo>
                    <a:pt x="20" y="524"/>
                  </a:lnTo>
                  <a:lnTo>
                    <a:pt x="12" y="518"/>
                  </a:lnTo>
                  <a:lnTo>
                    <a:pt x="6" y="510"/>
                  </a:lnTo>
                  <a:lnTo>
                    <a:pt x="2" y="498"/>
                  </a:lnTo>
                  <a:lnTo>
                    <a:pt x="0" y="484"/>
                  </a:lnTo>
                  <a:lnTo>
                    <a:pt x="0" y="468"/>
                  </a:lnTo>
                  <a:lnTo>
                    <a:pt x="0" y="468"/>
                  </a:lnTo>
                  <a:lnTo>
                    <a:pt x="0" y="434"/>
                  </a:lnTo>
                  <a:lnTo>
                    <a:pt x="2" y="408"/>
                  </a:lnTo>
                  <a:lnTo>
                    <a:pt x="6" y="388"/>
                  </a:lnTo>
                  <a:lnTo>
                    <a:pt x="10" y="382"/>
                  </a:lnTo>
                  <a:lnTo>
                    <a:pt x="14" y="376"/>
                  </a:lnTo>
                  <a:lnTo>
                    <a:pt x="20" y="372"/>
                  </a:lnTo>
                  <a:lnTo>
                    <a:pt x="26" y="368"/>
                  </a:lnTo>
                  <a:lnTo>
                    <a:pt x="44" y="364"/>
                  </a:lnTo>
                  <a:lnTo>
                    <a:pt x="70" y="362"/>
                  </a:lnTo>
                  <a:lnTo>
                    <a:pt x="104" y="362"/>
                  </a:lnTo>
                  <a:lnTo>
                    <a:pt x="104" y="362"/>
                  </a:lnTo>
                  <a:lnTo>
                    <a:pt x="116" y="360"/>
                  </a:lnTo>
                  <a:lnTo>
                    <a:pt x="126" y="358"/>
                  </a:lnTo>
                  <a:lnTo>
                    <a:pt x="134" y="354"/>
                  </a:lnTo>
                  <a:lnTo>
                    <a:pt x="142" y="348"/>
                  </a:lnTo>
                  <a:lnTo>
                    <a:pt x="146" y="342"/>
                  </a:lnTo>
                  <a:lnTo>
                    <a:pt x="150" y="334"/>
                  </a:lnTo>
                  <a:lnTo>
                    <a:pt x="156" y="314"/>
                  </a:lnTo>
                  <a:lnTo>
                    <a:pt x="156" y="314"/>
                  </a:lnTo>
                  <a:lnTo>
                    <a:pt x="180" y="182"/>
                  </a:lnTo>
                  <a:lnTo>
                    <a:pt x="204" y="52"/>
                  </a:lnTo>
                  <a:lnTo>
                    <a:pt x="204" y="52"/>
                  </a:lnTo>
                  <a:lnTo>
                    <a:pt x="208" y="40"/>
                  </a:lnTo>
                  <a:lnTo>
                    <a:pt x="212" y="28"/>
                  </a:lnTo>
                  <a:lnTo>
                    <a:pt x="216" y="20"/>
                  </a:lnTo>
                  <a:lnTo>
                    <a:pt x="222" y="12"/>
                  </a:lnTo>
                  <a:lnTo>
                    <a:pt x="230" y="8"/>
                  </a:lnTo>
                  <a:lnTo>
                    <a:pt x="240" y="4"/>
                  </a:lnTo>
                  <a:lnTo>
                    <a:pt x="250" y="2"/>
                  </a:lnTo>
                  <a:lnTo>
                    <a:pt x="264" y="0"/>
                  </a:lnTo>
                  <a:lnTo>
                    <a:pt x="264" y="0"/>
                  </a:lnTo>
                  <a:lnTo>
                    <a:pt x="1030" y="2"/>
                  </a:lnTo>
                  <a:lnTo>
                    <a:pt x="1794" y="2"/>
                  </a:lnTo>
                  <a:lnTo>
                    <a:pt x="1794" y="2"/>
                  </a:lnTo>
                  <a:lnTo>
                    <a:pt x="1808" y="2"/>
                  </a:lnTo>
                  <a:lnTo>
                    <a:pt x="1818" y="4"/>
                  </a:lnTo>
                  <a:lnTo>
                    <a:pt x="1828" y="6"/>
                  </a:lnTo>
                  <a:lnTo>
                    <a:pt x="1834" y="12"/>
                  </a:lnTo>
                  <a:lnTo>
                    <a:pt x="1840" y="18"/>
                  </a:lnTo>
                  <a:lnTo>
                    <a:pt x="1846" y="26"/>
                  </a:lnTo>
                  <a:lnTo>
                    <a:pt x="1850" y="36"/>
                  </a:lnTo>
                  <a:lnTo>
                    <a:pt x="1852" y="48"/>
                  </a:lnTo>
                  <a:lnTo>
                    <a:pt x="1852" y="48"/>
                  </a:lnTo>
                  <a:lnTo>
                    <a:pt x="1876" y="180"/>
                  </a:lnTo>
                  <a:lnTo>
                    <a:pt x="1900" y="310"/>
                  </a:lnTo>
                  <a:lnTo>
                    <a:pt x="1900" y="310"/>
                  </a:lnTo>
                  <a:lnTo>
                    <a:pt x="1904" y="322"/>
                  </a:lnTo>
                  <a:lnTo>
                    <a:pt x="1908" y="334"/>
                  </a:lnTo>
                  <a:lnTo>
                    <a:pt x="1912" y="342"/>
                  </a:lnTo>
                  <a:lnTo>
                    <a:pt x="1918" y="350"/>
                  </a:lnTo>
                  <a:lnTo>
                    <a:pt x="1926" y="356"/>
                  </a:lnTo>
                  <a:lnTo>
                    <a:pt x="1936" y="358"/>
                  </a:lnTo>
                  <a:lnTo>
                    <a:pt x="1948" y="362"/>
                  </a:lnTo>
                  <a:lnTo>
                    <a:pt x="1962" y="362"/>
                  </a:lnTo>
                  <a:lnTo>
                    <a:pt x="1962" y="362"/>
                  </a:lnTo>
                  <a:lnTo>
                    <a:pt x="1992" y="362"/>
                  </a:lnTo>
                  <a:lnTo>
                    <a:pt x="2016" y="362"/>
                  </a:lnTo>
                  <a:lnTo>
                    <a:pt x="2034" y="366"/>
                  </a:lnTo>
                  <a:lnTo>
                    <a:pt x="2040" y="370"/>
                  </a:lnTo>
                  <a:lnTo>
                    <a:pt x="2044" y="374"/>
                  </a:lnTo>
                  <a:lnTo>
                    <a:pt x="2048" y="378"/>
                  </a:lnTo>
                  <a:lnTo>
                    <a:pt x="2052" y="384"/>
                  </a:lnTo>
                  <a:lnTo>
                    <a:pt x="2054" y="402"/>
                  </a:lnTo>
                  <a:lnTo>
                    <a:pt x="2056" y="426"/>
                  </a:lnTo>
                  <a:lnTo>
                    <a:pt x="2056" y="456"/>
                  </a:lnTo>
                  <a:lnTo>
                    <a:pt x="2056" y="456"/>
                  </a:lnTo>
                  <a:lnTo>
                    <a:pt x="2056" y="480"/>
                  </a:lnTo>
                  <a:lnTo>
                    <a:pt x="2054" y="498"/>
                  </a:lnTo>
                  <a:lnTo>
                    <a:pt x="2052" y="512"/>
                  </a:lnTo>
                  <a:lnTo>
                    <a:pt x="2048" y="520"/>
                  </a:lnTo>
                  <a:lnTo>
                    <a:pt x="2038" y="526"/>
                  </a:lnTo>
                  <a:lnTo>
                    <a:pt x="2026" y="528"/>
                  </a:lnTo>
                  <a:lnTo>
                    <a:pt x="2010" y="528"/>
                  </a:lnTo>
                  <a:lnTo>
                    <a:pt x="1986" y="528"/>
                  </a:lnTo>
                  <a:lnTo>
                    <a:pt x="1986" y="528"/>
                  </a:lnTo>
                  <a:lnTo>
                    <a:pt x="1028" y="528"/>
                  </a:lnTo>
                  <a:lnTo>
                    <a:pt x="1028" y="5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dirty="0">
                <a:solidFill>
                  <a:schemeClr val="lt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99598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10" Type="http://schemas.openxmlformats.org/officeDocument/2006/relationships/tags" Target="../tags/tag4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2261536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2 Marcador de texto"/>
          <p:cNvSpPr>
            <a:spLocks noGrp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286246" y="1250344"/>
            <a:ext cx="8579458" cy="49694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exto del patrón</a:t>
            </a:r>
          </a:p>
          <a:p>
            <a:pPr lvl="1"/>
            <a:r>
              <a:rPr lang="es-ES" dirty="0"/>
              <a:t>Segundo nivel</a:t>
            </a:r>
          </a:p>
          <a:p>
            <a:pPr lvl="2"/>
            <a:r>
              <a:rPr lang="es-ES" dirty="0"/>
              <a:t>Tercer nivel</a:t>
            </a:r>
          </a:p>
          <a:p>
            <a:pPr lvl="3"/>
            <a:r>
              <a:rPr lang="es-ES" dirty="0"/>
              <a:t>Cuarto nivel</a:t>
            </a:r>
          </a:p>
          <a:p>
            <a:pPr lvl="4"/>
            <a:r>
              <a:rPr lang="es-ES" dirty="0"/>
              <a:t>Quinto nivel</a:t>
            </a: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>
          <a:xfrm>
            <a:off x="8674100" y="6451341"/>
            <a:ext cx="43259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100" smtClean="0">
                <a:solidFill>
                  <a:schemeClr val="tx1">
                    <a:tint val="75000"/>
                  </a:schemeClr>
                </a:solidFill>
                <a:latin typeface="+mj-lt"/>
                <a:cs typeface="+mn-cs"/>
                <a:sym typeface="Candara"/>
              </a:defRPr>
            </a:lvl1pPr>
          </a:lstStyle>
          <a:p>
            <a:pPr>
              <a:defRPr/>
            </a:pPr>
            <a:fld id="{CC308BA6-CE2B-4543-82B0-7E6DCE132E0F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‹Nº›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pSp>
        <p:nvGrpSpPr>
          <p:cNvPr id="2" name="Group 1"/>
          <p:cNvGrpSpPr/>
          <p:nvPr userDrawn="1"/>
        </p:nvGrpSpPr>
        <p:grpSpPr>
          <a:xfrm>
            <a:off x="6693696" y="6197601"/>
            <a:ext cx="1863728" cy="667386"/>
            <a:chOff x="6855280" y="6288821"/>
            <a:chExt cx="1703774" cy="576165"/>
          </a:xfrm>
        </p:grpSpPr>
        <p:pic>
          <p:nvPicPr>
            <p:cNvPr id="1031" name="E719C35A-4CD6-4178-B0D0-8DA208F1799A" descr="E719C35A-4CD6-4178-B0D0-8DA208F1799A"/>
            <p:cNvPicPr>
              <a:picLocks noChangeAspect="1" noChangeArrowheads="1"/>
            </p:cNvPicPr>
            <p:nvPr>
              <p:custDataLst>
                <p:tags r:id="rId14"/>
              </p:custDataLst>
            </p:nvPr>
          </p:nvPicPr>
          <p:blipFill rotWithShape="1">
            <a:blip r:embed="rId18" cstate="print">
              <a:clrChange>
                <a:clrFrom>
                  <a:srgbClr val="FFFFFE"/>
                </a:clrFrom>
                <a:clrTo>
                  <a:srgbClr val="FFFFFE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6910" t="12070" r="20026" b="11812"/>
            <a:stretch/>
          </p:blipFill>
          <p:spPr bwMode="auto">
            <a:xfrm>
              <a:off x="6855280" y="6288821"/>
              <a:ext cx="618324" cy="57616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0" name="Picture 7" descr="http://www.mininterior.gov.co/sites/default/files/galeria-imagenes/2014-logo_web_eslogan.png"/>
            <p:cNvPicPr>
              <a:picLocks noChangeAspect="1" noChangeArrowheads="1"/>
            </p:cNvPicPr>
            <p:nvPr userDrawn="1">
              <p:custDataLst>
                <p:tags r:id="rId15"/>
              </p:custDataLst>
            </p:nvPr>
          </p:nvPicPr>
          <p:blipFill>
            <a:blip r:embed="rId19" cstate="screen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85909" y="6363329"/>
              <a:ext cx="973145" cy="4652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026" name="1 Marcador de título"/>
          <p:cNvSpPr>
            <a:spLocks noGrp="1"/>
          </p:cNvSpPr>
          <p:nvPr>
            <p:ph type="title"/>
            <p:custDataLst>
              <p:tags r:id="rId11"/>
            </p:custDataLst>
          </p:nvPr>
        </p:nvSpPr>
        <p:spPr bwMode="auto">
          <a:xfrm>
            <a:off x="286246" y="262340"/>
            <a:ext cx="8595361" cy="7486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s-ES" dirty="0"/>
              <a:t>Haga clic para modificar el estilo de título del patrón</a:t>
            </a:r>
            <a:endParaRPr lang="es-CO" dirty="0"/>
          </a:p>
        </p:txBody>
      </p:sp>
      <p:sp>
        <p:nvSpPr>
          <p:cNvPr id="19" name="Rectangle 18"/>
          <p:cNvSpPr/>
          <p:nvPr userDrawn="1">
            <p:custDataLst>
              <p:tags r:id="rId12"/>
            </p:custDataLst>
          </p:nvPr>
        </p:nvSpPr>
        <p:spPr>
          <a:xfrm rot="10800000" flipH="1" flipV="1">
            <a:off x="285252" y="1059059"/>
            <a:ext cx="8589667" cy="45721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0000"/>
                  <a:alpha val="50000"/>
                </a:schemeClr>
              </a:gs>
              <a:gs pos="100000">
                <a:schemeClr val="bg1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  <p:sp>
        <p:nvSpPr>
          <p:cNvPr id="12" name="Rectangle 11"/>
          <p:cNvSpPr/>
          <p:nvPr userDrawn="1">
            <p:custDataLst>
              <p:tags r:id="rId13"/>
            </p:custDataLst>
          </p:nvPr>
        </p:nvSpPr>
        <p:spPr>
          <a:xfrm rot="10800000" flipH="1" flipV="1">
            <a:off x="0" y="6716678"/>
            <a:ext cx="6577014" cy="141244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chemeClr val="accent5"/>
              </a:gs>
            </a:gsLst>
            <a:lin ang="108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Candara"/>
              <a:sym typeface="Candara"/>
            </a:endParaRPr>
          </a:p>
        </p:txBody>
      </p:sp>
    </p:spTree>
    <p:extLst>
      <p:ext uri="{BB962C8B-B14F-4D97-AF65-F5344CB8AC3E}">
        <p14:creationId xmlns:p14="http://schemas.microsoft.com/office/powerpoint/2010/main" val="781156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6" r:id="rId2"/>
    <p:sldLayoutId id="2147483673" r:id="rId3"/>
    <p:sldLayoutId id="2147483667" r:id="rId4"/>
    <p:sldLayoutId id="2147483674" r:id="rId5"/>
  </p:sldLayoutIdLst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 b="1" kern="1200">
          <a:solidFill>
            <a:schemeClr val="accent4"/>
          </a:solidFill>
          <a:latin typeface="Candara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177800" indent="-177800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•"/>
        <a:defRPr sz="1600" b="0" kern="1200">
          <a:solidFill>
            <a:schemeClr val="tx1"/>
          </a:solidFill>
          <a:latin typeface="+mj-lt"/>
          <a:ea typeface="+mn-ea"/>
          <a:cs typeface="+mn-cs"/>
        </a:defRPr>
      </a:lvl1pPr>
      <a:lvl2pPr marL="342900" indent="-16827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–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517525" indent="-17462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SzPct val="80000"/>
        <a:buFont typeface="Arial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685800" indent="-16827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–"/>
        <a:tabLst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860425" indent="-174625" algn="just" rtl="0" eaLnBrk="1" fontAlgn="base" hangingPunct="1">
        <a:spcBef>
          <a:spcPct val="20000"/>
        </a:spcBef>
        <a:spcAft>
          <a:spcPct val="0"/>
        </a:spcAft>
        <a:buClr>
          <a:schemeClr val="accent3"/>
        </a:buClr>
        <a:buFont typeface="Arial" charset="0"/>
        <a:buChar char="»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1.emf"/><Relationship Id="rId2" Type="http://schemas.openxmlformats.org/officeDocument/2006/relationships/tags" Target="../tags/tag39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8" name="Object 12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9286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9" name="Title 38"/>
          <p:cNvSpPr>
            <a:spLocks noGrp="1"/>
          </p:cNvSpPr>
          <p:nvPr>
            <p:ph type="ctrTitle"/>
          </p:nvPr>
        </p:nvSpPr>
        <p:spPr>
          <a:xfrm>
            <a:off x="2313084" y="1690686"/>
            <a:ext cx="5833110" cy="1470025"/>
          </a:xfrm>
        </p:spPr>
        <p:txBody>
          <a:bodyPr/>
          <a:lstStyle/>
          <a:p>
            <a:r>
              <a:rPr lang="en-US" dirty="0">
                <a:solidFill>
                  <a:schemeClr val="tx2"/>
                </a:solidFill>
              </a:rPr>
              <a:t>ESTADISTICAS GESTIÓN DEL TALENTO HUMANO.</a:t>
            </a:r>
          </a:p>
        </p:txBody>
      </p:sp>
      <p:sp>
        <p:nvSpPr>
          <p:cNvPr id="132" name="Text Placeholder 131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2313084" y="4248150"/>
            <a:ext cx="3219450" cy="361950"/>
          </a:xfrm>
        </p:spPr>
        <p:txBody>
          <a:bodyPr/>
          <a:lstStyle/>
          <a:p>
            <a:r>
              <a:rPr lang="es-ES" dirty="0"/>
              <a:t>Diciembre 31 de  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82850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Declaración bienes y rentas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178321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1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Declaración bienes y rentas-2017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97618214"/>
              </p:ext>
            </p:extLst>
          </p:nvPr>
        </p:nvGraphicFramePr>
        <p:xfrm>
          <a:off x="596613" y="1634391"/>
          <a:ext cx="7385851" cy="33291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7596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750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8021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5465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de funcionarios a los que se les expidió al ingreso declaración de bienes y rentas</a:t>
                      </a:r>
                      <a:endParaRPr lang="es-C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de declaraciones actualizadas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s-CO" sz="1600" b="1" dirty="0"/>
                        <a:t>Directivo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6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* (Técnico Asistencial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560">
                <a:tc rowSpan="2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O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isten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956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oy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2280">
                <a:tc gridSpan="2"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/>
                        <a:t>236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Título 2"/>
          <p:cNvSpPr txBox="1">
            <a:spLocks/>
          </p:cNvSpPr>
          <p:nvPr/>
        </p:nvSpPr>
        <p:spPr bwMode="auto">
          <a:xfrm>
            <a:off x="388555" y="5475157"/>
            <a:ext cx="7747527" cy="51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1200" dirty="0">
                <a:sym typeface="Candara"/>
              </a:rPr>
              <a:t>* Incluye asistenciales (secretarias, conductores, mensajeros, archivistas etc.)</a:t>
            </a:r>
            <a:br>
              <a:rPr lang="es-ES" sz="1200" dirty="0">
                <a:sym typeface="Candara"/>
              </a:rPr>
            </a:b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24075402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Funcionarios capacitados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71080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88798" y="404217"/>
            <a:ext cx="8595361" cy="789709"/>
          </a:xfrm>
        </p:spPr>
        <p:txBody>
          <a:bodyPr/>
          <a:lstStyle/>
          <a:p>
            <a:r>
              <a:rPr lang="es-ES" dirty="0">
                <a:sym typeface="Candara"/>
              </a:rPr>
              <a:t>Funcionarios capacitados-2017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6" name="Tabla 5">
            <a:extLst>
              <a:ext uri="{FF2B5EF4-FFF2-40B4-BE49-F238E27FC236}">
                <a16:creationId xmlns:a16="http://schemas.microsoft.com/office/drawing/2014/main" id="{BFFE3948-EEFA-4A07-B8ED-5AA09EC7343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6863112"/>
              </p:ext>
            </p:extLst>
          </p:nvPr>
        </p:nvGraphicFramePr>
        <p:xfrm>
          <a:off x="172278" y="1193927"/>
          <a:ext cx="8711881" cy="5055484"/>
        </p:xfrm>
        <a:graphic>
          <a:graphicData uri="http://schemas.openxmlformats.org/drawingml/2006/table">
            <a:tbl>
              <a:tblPr/>
              <a:tblGrid>
                <a:gridCol w="1899565">
                  <a:extLst>
                    <a:ext uri="{9D8B030D-6E8A-4147-A177-3AD203B41FA5}">
                      <a16:colId xmlns:a16="http://schemas.microsoft.com/office/drawing/2014/main" val="3199436722"/>
                    </a:ext>
                  </a:extLst>
                </a:gridCol>
                <a:gridCol w="1899565">
                  <a:extLst>
                    <a:ext uri="{9D8B030D-6E8A-4147-A177-3AD203B41FA5}">
                      <a16:colId xmlns:a16="http://schemas.microsoft.com/office/drawing/2014/main" val="3263407977"/>
                    </a:ext>
                  </a:extLst>
                </a:gridCol>
                <a:gridCol w="522381">
                  <a:extLst>
                    <a:ext uri="{9D8B030D-6E8A-4147-A177-3AD203B41FA5}">
                      <a16:colId xmlns:a16="http://schemas.microsoft.com/office/drawing/2014/main" val="2931770830"/>
                    </a:ext>
                  </a:extLst>
                </a:gridCol>
                <a:gridCol w="220824">
                  <a:extLst>
                    <a:ext uri="{9D8B030D-6E8A-4147-A177-3AD203B41FA5}">
                      <a16:colId xmlns:a16="http://schemas.microsoft.com/office/drawing/2014/main" val="820287874"/>
                    </a:ext>
                  </a:extLst>
                </a:gridCol>
                <a:gridCol w="208952">
                  <a:extLst>
                    <a:ext uri="{9D8B030D-6E8A-4147-A177-3AD203B41FA5}">
                      <a16:colId xmlns:a16="http://schemas.microsoft.com/office/drawing/2014/main" val="3489326749"/>
                    </a:ext>
                  </a:extLst>
                </a:gridCol>
                <a:gridCol w="876175">
                  <a:extLst>
                    <a:ext uri="{9D8B030D-6E8A-4147-A177-3AD203B41FA5}">
                      <a16:colId xmlns:a16="http://schemas.microsoft.com/office/drawing/2014/main" val="1452639393"/>
                    </a:ext>
                  </a:extLst>
                </a:gridCol>
                <a:gridCol w="180459">
                  <a:extLst>
                    <a:ext uri="{9D8B030D-6E8A-4147-A177-3AD203B41FA5}">
                      <a16:colId xmlns:a16="http://schemas.microsoft.com/office/drawing/2014/main" val="3821990812"/>
                    </a:ext>
                  </a:extLst>
                </a:gridCol>
                <a:gridCol w="294433">
                  <a:extLst>
                    <a:ext uri="{9D8B030D-6E8A-4147-A177-3AD203B41FA5}">
                      <a16:colId xmlns:a16="http://schemas.microsoft.com/office/drawing/2014/main" val="2199124657"/>
                    </a:ext>
                  </a:extLst>
                </a:gridCol>
                <a:gridCol w="180459">
                  <a:extLst>
                    <a:ext uri="{9D8B030D-6E8A-4147-A177-3AD203B41FA5}">
                      <a16:colId xmlns:a16="http://schemas.microsoft.com/office/drawing/2014/main" val="1140398016"/>
                    </a:ext>
                  </a:extLst>
                </a:gridCol>
                <a:gridCol w="192331">
                  <a:extLst>
                    <a:ext uri="{9D8B030D-6E8A-4147-A177-3AD203B41FA5}">
                      <a16:colId xmlns:a16="http://schemas.microsoft.com/office/drawing/2014/main" val="2919465332"/>
                    </a:ext>
                  </a:extLst>
                </a:gridCol>
                <a:gridCol w="275437">
                  <a:extLst>
                    <a:ext uri="{9D8B030D-6E8A-4147-A177-3AD203B41FA5}">
                      <a16:colId xmlns:a16="http://schemas.microsoft.com/office/drawing/2014/main" val="210645449"/>
                    </a:ext>
                  </a:extLst>
                </a:gridCol>
                <a:gridCol w="218450">
                  <a:extLst>
                    <a:ext uri="{9D8B030D-6E8A-4147-A177-3AD203B41FA5}">
                      <a16:colId xmlns:a16="http://schemas.microsoft.com/office/drawing/2014/main" val="4286431893"/>
                    </a:ext>
                  </a:extLst>
                </a:gridCol>
                <a:gridCol w="218450">
                  <a:extLst>
                    <a:ext uri="{9D8B030D-6E8A-4147-A177-3AD203B41FA5}">
                      <a16:colId xmlns:a16="http://schemas.microsoft.com/office/drawing/2014/main" val="3170750915"/>
                    </a:ext>
                  </a:extLst>
                </a:gridCol>
                <a:gridCol w="218450">
                  <a:extLst>
                    <a:ext uri="{9D8B030D-6E8A-4147-A177-3AD203B41FA5}">
                      <a16:colId xmlns:a16="http://schemas.microsoft.com/office/drawing/2014/main" val="2185970350"/>
                    </a:ext>
                  </a:extLst>
                </a:gridCol>
                <a:gridCol w="249318">
                  <a:extLst>
                    <a:ext uri="{9D8B030D-6E8A-4147-A177-3AD203B41FA5}">
                      <a16:colId xmlns:a16="http://schemas.microsoft.com/office/drawing/2014/main" val="2578240726"/>
                    </a:ext>
                  </a:extLst>
                </a:gridCol>
                <a:gridCol w="265939">
                  <a:extLst>
                    <a:ext uri="{9D8B030D-6E8A-4147-A177-3AD203B41FA5}">
                      <a16:colId xmlns:a16="http://schemas.microsoft.com/office/drawing/2014/main" val="2555708100"/>
                    </a:ext>
                  </a:extLst>
                </a:gridCol>
                <a:gridCol w="163837">
                  <a:extLst>
                    <a:ext uri="{9D8B030D-6E8A-4147-A177-3AD203B41FA5}">
                      <a16:colId xmlns:a16="http://schemas.microsoft.com/office/drawing/2014/main" val="3026827494"/>
                    </a:ext>
                  </a:extLst>
                </a:gridCol>
                <a:gridCol w="626856">
                  <a:extLst>
                    <a:ext uri="{9D8B030D-6E8A-4147-A177-3AD203B41FA5}">
                      <a16:colId xmlns:a16="http://schemas.microsoft.com/office/drawing/2014/main" val="108476040"/>
                    </a:ext>
                  </a:extLst>
                </a:gridCol>
              </a:tblGrid>
              <a:tr h="452300"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ma de la capacitación</a:t>
                      </a:r>
                    </a:p>
                  </a:txBody>
                  <a:tcPr marL="6720" marR="6720" marT="67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mbre de la capacitación</a:t>
                      </a:r>
                    </a:p>
                  </a:txBody>
                  <a:tcPr marL="6720" marR="6720" marT="67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# de horas de la capacitación</a:t>
                      </a:r>
                    </a:p>
                  </a:txBody>
                  <a:tcPr marL="6720" marR="6720" marT="67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386295"/>
                          </a:solidFill>
                          <a:effectLst/>
                          <a:latin typeface="Calibri" panose="020F0502020204030204" pitchFamily="34" charset="0"/>
                        </a:rPr>
                        <a:t>Interna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4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386295"/>
                          </a:solidFill>
                          <a:effectLst/>
                          <a:latin typeface="Calibri" panose="020F0502020204030204" pitchFamily="34" charset="0"/>
                        </a:rPr>
                        <a:t>Externa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4D4CC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Fecha</a:t>
                      </a:r>
                    </a:p>
                  </a:txBody>
                  <a:tcPr marL="6720" marR="6720" marT="67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SUPERVISOR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POYO A LA SUPERVISION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irectivo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sesor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fesional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écnico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. Misional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A. Apoyo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ovisional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ontratista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emporal</a:t>
                      </a:r>
                    </a:p>
                  </a:txBody>
                  <a:tcPr marL="6720" marR="6720" marT="6720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s-CO" sz="7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  funcionarios capacitados por tema.</a:t>
                      </a:r>
                    </a:p>
                  </a:txBody>
                  <a:tcPr marL="6720" marR="6720" marT="672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6C0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941339"/>
                  </a:ext>
                </a:extLst>
              </a:tr>
              <a:tr h="135718">
                <a:tc rowSpan="6">
                  <a:txBody>
                    <a:bodyPr/>
                    <a:lstStyle/>
                    <a:p>
                      <a:pPr algn="l" fontAlgn="ctr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STION ADMINISTRATIVA</a:t>
                      </a:r>
                    </a:p>
                  </a:txBody>
                  <a:tcPr marL="6720" marR="6720" marT="67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ORFEO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-Diciembre 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8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4140870"/>
                  </a:ext>
                </a:extLst>
              </a:tr>
              <a:tr h="135718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DOPCIÓN OFFICE 365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nio-Julio 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07502639"/>
                  </a:ext>
                </a:extLst>
              </a:tr>
              <a:tr h="196791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CALIDAD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-Diciembre 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0389104"/>
                  </a:ext>
                </a:extLst>
              </a:tr>
              <a:tr h="271436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SEGURIDAD Y SALUD EN EL TRABAJO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-Diciembre 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8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7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455168"/>
                  </a:ext>
                </a:extLst>
              </a:tr>
              <a:tr h="135718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TECCION DE DATOS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ubre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2160215"/>
                  </a:ext>
                </a:extLst>
              </a:tr>
              <a:tr h="26146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PRESENTACIONES EFECTIVAS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-Diciembre 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74784713"/>
                  </a:ext>
                </a:extLst>
              </a:tr>
              <a:tr h="271436">
                <a:tc>
                  <a:txBody>
                    <a:bodyPr/>
                    <a:lstStyle/>
                    <a:p>
                      <a:pPr algn="l" fontAlgn="ctr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STION FINANCIERA</a:t>
                      </a:r>
                    </a:p>
                  </a:txBody>
                  <a:tcPr marL="6720" marR="6720" marT="67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GERENCIA DE PROYECTOS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-Diciembre 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98566789"/>
                  </a:ext>
                </a:extLst>
              </a:tr>
              <a:tr h="135718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TROS</a:t>
                      </a:r>
                    </a:p>
                  </a:txBody>
                  <a:tcPr marL="6720" marR="6720" marT="67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GURIDAD VIAL 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ubre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61092705"/>
                  </a:ext>
                </a:extLst>
              </a:tr>
              <a:tr h="271436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PECTOS GENERALES DE UN AEROPUERTO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rero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63066852"/>
                  </a:ext>
                </a:extLst>
              </a:tr>
              <a:tr h="253012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ACCION DE INFORMES Y ORTOGRAFÍA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yo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780374"/>
                  </a:ext>
                </a:extLst>
              </a:tr>
              <a:tr h="271436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TRATACION  PÚBLICA</a:t>
                      </a:r>
                    </a:p>
                  </a:txBody>
                  <a:tcPr marL="6720" marR="6720" marT="67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 CURSO SUPERVISIÓN DE CONTRATOS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-Diciembre 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0401115"/>
                  </a:ext>
                </a:extLst>
              </a:tr>
              <a:tr h="135718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UALIZACIÓN JURÍDICA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ctubre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4883112"/>
                  </a:ext>
                </a:extLst>
              </a:tr>
              <a:tr h="135718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COP II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viembre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11712338"/>
                  </a:ext>
                </a:extLst>
              </a:tr>
              <a:tr h="135718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LTURA ORGANIZACIONAL</a:t>
                      </a:r>
                    </a:p>
                  </a:txBody>
                  <a:tcPr marL="6720" marR="6720" marT="67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ÓN VIRTUAL:  INDUCCIÓN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-Diciembre 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3442177"/>
                  </a:ext>
                </a:extLst>
              </a:tr>
              <a:tr h="26465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INDUCCIÓN: EVALUACIÓN DEL DESEMPEÑO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brero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43288290"/>
                  </a:ext>
                </a:extLst>
              </a:tr>
              <a:tr h="135718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UNICACIÓN INSTITUCIONAL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zo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77725773"/>
                  </a:ext>
                </a:extLst>
              </a:tr>
              <a:tr h="261462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STION TALENTO HUMANO</a:t>
                      </a:r>
                    </a:p>
                  </a:txBody>
                  <a:tcPr marL="6720" marR="6720" marT="67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VERSATORIO POR UNA VIDA SIN VIOLENCIA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bril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9178633"/>
                  </a:ext>
                </a:extLst>
              </a:tr>
              <a:tr h="135718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IDERAZGO EN TACONES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io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95457263"/>
                  </a:ext>
                </a:extLst>
              </a:tr>
              <a:tr h="271436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TALECIMIENTO PRINCIPIOS Y VALORES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Julio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640976"/>
                  </a:ext>
                </a:extLst>
              </a:tr>
              <a:tr h="278222">
                <a:tc rowSpan="4">
                  <a:txBody>
                    <a:bodyPr/>
                    <a:lstStyle/>
                    <a:p>
                      <a:pPr algn="l" fontAlgn="ctr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UCHA ANTICORRUPCION ANTICORRUPCIÓN / ATENCIÓN AL CIUDADANO / PARTICIPACION CIUDADANA</a:t>
                      </a:r>
                    </a:p>
                  </a:txBody>
                  <a:tcPr marL="6720" marR="6720" marT="672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ORMACION VIRTUAL: ATENCIÓN AL CIUDADANO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nero-Diciembre 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18289732"/>
                  </a:ext>
                </a:extLst>
              </a:tr>
              <a:tr h="135718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BIERNO EN LINEA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eptiembre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01407745"/>
                  </a:ext>
                </a:extLst>
              </a:tr>
              <a:tr h="135718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NE MATINE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zo - Mayo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34410830"/>
                  </a:ext>
                </a:extLst>
              </a:tr>
              <a:tr h="237507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LANES DE MEJORAMIENTO</a:t>
                      </a:r>
                    </a:p>
                  </a:txBody>
                  <a:tcPr marL="6720" marR="6720" marT="672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X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arzo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9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s-CO" sz="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s-CO" sz="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7</a:t>
                      </a:r>
                    </a:p>
                  </a:txBody>
                  <a:tcPr marL="6720" marR="6720" marT="67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50943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51681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Planta de persona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42874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3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49873"/>
            <a:ext cx="8595361" cy="567035"/>
          </a:xfrm>
        </p:spPr>
        <p:txBody>
          <a:bodyPr/>
          <a:lstStyle/>
          <a:p>
            <a:r>
              <a:rPr lang="es-ES" dirty="0">
                <a:sym typeface="Candara"/>
              </a:rPr>
              <a:t>Planta de personal aprobada-2017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5163511"/>
              </p:ext>
            </p:extLst>
          </p:nvPr>
        </p:nvGraphicFramePr>
        <p:xfrm>
          <a:off x="596613" y="1157416"/>
          <a:ext cx="7992210" cy="464996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497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4982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4496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652954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891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055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endParaRPr lang="es-CO" sz="1600" dirty="0"/>
                    </a:p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de cargos establecidos por la planta de personal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de cargos provistos</a:t>
                      </a:r>
                      <a:endParaRPr lang="es-CO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de cargos vacant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ingresos o vinculaciones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s-CO" sz="1600" b="1" dirty="0"/>
                        <a:t>Directivo (Presidente y Vicepresidente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 (Gerentes, Jefes de oficina y Experto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7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7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 (Gestores y Analistas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4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* (Técnico Asistencial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560">
                <a:tc rowSpan="2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O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isten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956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oy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2280">
                <a:tc gridSpan="2"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4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es-MX" sz="16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Título 2"/>
          <p:cNvSpPr txBox="1">
            <a:spLocks/>
          </p:cNvSpPr>
          <p:nvPr/>
        </p:nvSpPr>
        <p:spPr bwMode="auto">
          <a:xfrm>
            <a:off x="596613" y="6114919"/>
            <a:ext cx="8595361" cy="51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1200" dirty="0">
                <a:sym typeface="Candara"/>
              </a:rPr>
              <a:t>* Incluye asistenciales (secretarias, conductores, mensajeros, archivistas etc.)</a:t>
            </a:r>
            <a:br>
              <a:rPr lang="es-ES" sz="1200" dirty="0">
                <a:sym typeface="Candara"/>
              </a:rPr>
            </a:b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1571172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Funcionarios de libre nombramiento y remoción seleccionados por meritocracia.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780745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5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Funcionarios de libre nombramiento y remoción seleccionados por meritocracia-2017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00475477"/>
              </p:ext>
            </p:extLst>
          </p:nvPr>
        </p:nvGraphicFramePr>
        <p:xfrm>
          <a:off x="1862074" y="2355360"/>
          <a:ext cx="5461287" cy="206248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75972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015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de funcionarios a los que se surtió un proceso de meritocrácia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sz="1600" b="1" dirty="0"/>
                        <a:t>Directiv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1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6133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Cargos por nivel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62926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7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Cargos por nivel-2017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43518735"/>
              </p:ext>
            </p:extLst>
          </p:nvPr>
        </p:nvGraphicFramePr>
        <p:xfrm>
          <a:off x="790831" y="1243252"/>
          <a:ext cx="7595287" cy="487680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419306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9699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052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Denomina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úmero tot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/>
                        <a:t>Número</a:t>
                      </a:r>
                      <a:r>
                        <a:rPr lang="es-CO" sz="1600" baseline="0" dirty="0"/>
                        <a:t> ingresos o vinculaciones</a:t>
                      </a:r>
                      <a:endParaRPr lang="es-CO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s-CO" sz="1400" b="1" dirty="0"/>
                        <a:t>1.</a:t>
                      </a:r>
                      <a:r>
                        <a:rPr lang="es-CO" sz="1400" b="1" baseline="0" dirty="0"/>
                        <a:t> Funcionarios en la planta de personal</a:t>
                      </a:r>
                      <a:endParaRPr lang="es-CO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4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1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2. Funcionarios inscritos en carrera administrati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. Funcionarios de libre nombramiento y remo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1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4. Funcionarios ordenadores de gast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5. Contratista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or servicios personales (persona natural-directa)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35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35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6. Contratista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or servicios personales (cooperación internacional y outsoursing)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. Contratista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or servicios personales a través de outsoursing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. Funcionarios</a:t>
                      </a:r>
                      <a:r>
                        <a:rPr lang="es-CO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catalogados como trabajadores oficiales</a:t>
                      </a:r>
                      <a:endParaRPr lang="es-CO" sz="14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9. Funcionarios provision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1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10. Funcionarios tempor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4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91507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dirty="0">
                <a:sym typeface="Candara"/>
              </a:rPr>
              <a:t>Evaluación desempeño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861361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número de diapositiva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2C0D9B7-3709-4AA7-BC15-71609CD14C4E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9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sp>
        <p:nvSpPr>
          <p:cNvPr id="3" name="Título 2"/>
          <p:cNvSpPr>
            <a:spLocks noGrp="1"/>
          </p:cNvSpPr>
          <p:nvPr>
            <p:ph type="title"/>
          </p:nvPr>
        </p:nvSpPr>
        <p:spPr>
          <a:xfrm>
            <a:off x="295038" y="897924"/>
            <a:ext cx="8595361" cy="518984"/>
          </a:xfrm>
        </p:spPr>
        <p:txBody>
          <a:bodyPr/>
          <a:lstStyle/>
          <a:p>
            <a:r>
              <a:rPr lang="es-ES" dirty="0">
                <a:sym typeface="Candara"/>
              </a:rPr>
              <a:t>Evaluación desempeño-2017</a:t>
            </a:r>
            <a:br>
              <a:rPr lang="es-ES" dirty="0">
                <a:sym typeface="Candara"/>
              </a:rPr>
            </a:br>
            <a:endParaRPr lang="es-CO" dirty="0"/>
          </a:p>
        </p:txBody>
      </p:sp>
      <p:graphicFrame>
        <p:nvGraphicFramePr>
          <p:cNvPr id="9" name="Tabla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2975414"/>
              </p:ext>
            </p:extLst>
          </p:nvPr>
        </p:nvGraphicFramePr>
        <p:xfrm>
          <a:off x="596613" y="1634391"/>
          <a:ext cx="7992210" cy="353744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124977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231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976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269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8918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0550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370840">
                <a:tc gridSpan="2">
                  <a:txBody>
                    <a:bodyPr/>
                    <a:lstStyle/>
                    <a:p>
                      <a:endParaRPr lang="es-CO" sz="1600" dirty="0"/>
                    </a:p>
                    <a:p>
                      <a:endParaRPr lang="es-CO" sz="1600" dirty="0"/>
                    </a:p>
                    <a:p>
                      <a:pPr algn="ctr"/>
                      <a:r>
                        <a:rPr lang="es-CO" sz="1600" dirty="0"/>
                        <a:t>NIVE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o. Libre nombramiento y remoció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o. Carrera administrativ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o. </a:t>
                      </a:r>
                    </a:p>
                    <a:p>
                      <a:pPr algn="ctr"/>
                      <a:r>
                        <a:rPr lang="es-CO" sz="1600" dirty="0"/>
                        <a:t>Provisiona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o.</a:t>
                      </a:r>
                    </a:p>
                    <a:p>
                      <a:pPr algn="ctr"/>
                      <a:r>
                        <a:rPr lang="es-CO" sz="1600" dirty="0"/>
                        <a:t>Temporal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r>
                        <a:rPr lang="es-CO" sz="1600" b="1" dirty="0"/>
                        <a:t>Directivo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esor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5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fesion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écnico* (Técnico Asistencial)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9560">
                <a:tc rowSpan="2">
                  <a:txBody>
                    <a:bodyPr/>
                    <a:lstStyle/>
                    <a:p>
                      <a:pPr marL="0" algn="l" defTabSz="914400" rtl="0" eaLnBrk="1" latinLnBrk="0" hangingPunct="1"/>
                      <a:endParaRPr lang="es-CO" sz="1600" b="1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sistenci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isio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9560">
                <a:tc v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oy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s-CO" sz="1600" dirty="0"/>
                        <a:t>N/A</a:t>
                      </a:r>
                      <a:endParaRPr lang="es-CO" sz="16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52280">
                <a:tc gridSpan="2"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es-CO" sz="16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7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2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sz="1600" dirty="0"/>
                        <a:t>N/A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sp>
        <p:nvSpPr>
          <p:cNvPr id="10" name="Título 2"/>
          <p:cNvSpPr txBox="1">
            <a:spLocks/>
          </p:cNvSpPr>
          <p:nvPr/>
        </p:nvSpPr>
        <p:spPr bwMode="auto">
          <a:xfrm>
            <a:off x="450900" y="5537503"/>
            <a:ext cx="8595361" cy="5189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andara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s-ES" sz="1200" dirty="0">
                <a:sym typeface="Candara"/>
              </a:rPr>
              <a:t>* Incluye asistenciales (secretarias, conductores, mensajeros, archivistas etc.)</a:t>
            </a:r>
            <a:br>
              <a:rPr lang="es-ES" sz="1200" dirty="0">
                <a:sym typeface="Candara"/>
              </a:rPr>
            </a:br>
            <a:endParaRPr lang="es-CO" sz="1200" dirty="0"/>
          </a:p>
        </p:txBody>
      </p:sp>
    </p:spTree>
    <p:extLst>
      <p:ext uri="{BB962C8B-B14F-4D97-AF65-F5344CB8AC3E}">
        <p14:creationId xmlns:p14="http://schemas.microsoft.com/office/powerpoint/2010/main" val="1810198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 advClick="0"/>
    </mc:Choice>
    <mc:Fallback xmlns="">
      <p:transition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18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2.69891059609000020000E+000&quot;&gt;&lt;m_ppcolschidx val=&quot;0&quot;/&gt;&lt;m_rgb r=&quot;95&quot; g=&quot;b3&quot; b=&quot;d7&quot;/&gt;&lt;/elem&gt;&lt;elem m_fUsage=&quot;2.27611758283289990000E+000&quot;&gt;&lt;m_ppcolschidx val=&quot;0&quot;/&gt;&lt;m_rgb r=&quot;7f&quot; g=&quot;7f&quot; b=&quot;7f&quot;/&gt;&lt;/elem&gt;&lt;elem m_fUsage=&quot;1.94753203454961050000E+000&quot;&gt;&lt;m_ppcolschidx val=&quot;0&quot;/&gt;&lt;m_rgb r=&quot;bf&quot; g=&quot;bf&quot; b=&quot;bf&quot;/&gt;&lt;/elem&gt;&lt;elem m_fUsage=&quot;1.21361826373501590000E+000&quot;&gt;&lt;m_ppcolschidx val=&quot;0&quot;/&gt;&lt;m_rgb r=&quot;36&quot; g=&quot;60&quot; b=&quot;92&quot;/&gt;&lt;/elem&gt;&lt;elem m_fUsage=&quot;1.02635124360039480000E+000&quot;&gt;&lt;m_ppcolschidx val=&quot;0&quot;/&gt;&lt;m_rgb r=&quot;d9&quot; g=&quot;d9&quot; b=&quot;d9&quot;/&gt;&lt;/elem&gt;&lt;elem m_fUsage=&quot;2.88210765068180720000E-001&quot;&gt;&lt;m_ppcolschidx val=&quot;0&quot;/&gt;&lt;m_rgb r=&quot;24&quot; g=&quot;40&quot; b=&quot;61&quot;/&gt;&lt;/elem&gt;&lt;elem m_fUsage=&quot;2.05891132094649100000E-001&quot;&gt;&lt;m_ppcolschidx val=&quot;0&quot;/&gt;&lt;m_rgb r=&quot;a6&quot; g=&quot;a6&quot; b=&quot;a6&quot;/&gt;&lt;/elem&gt;&lt;/m_vecMRU&gt;&lt;/m_mruColor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19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of1lz785029W5QenBo_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UfAvxx5U6KroDGBWqzm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OB37tIvZEGT8CuoODbv2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1R.JuqvUKq1ooSY0XBD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0IG4Op1KUyZVFRdStyc2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uloeukbkC27FQiS1qUE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bwo9AthUuE.91gUlFBk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AAsFFX1kuGGmmOOH7O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O9Fm9zFUmjHR0rPyEQo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4EyAmG.vU.tyllajF_Oe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JNeayY3Gk.49_resxvDA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VFNPLT8Ua98uLBCIL4c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HQrVme_EeqJHHqOdgxD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9EjtYRLEq.Sa1_uMAwu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.8X9YeG6k.xnXVSAiJHV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SnmfNNVEqJPNl7AW2hV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wZ1M7eG0.jNdzCVSD8O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NN5AWZ92ky9MEV0q8zww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tJt2Wj10eKpMgU4_al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16YG7AWgUWRMd25FpTc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xhAqMzkC79VmyB5OJP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aBqouLVE.2phnNOznu8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QxFVzBCeky9IUK7A2vv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9BheZNjg022f.xW_Zqx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fuEWCH0E29iZh5ToItrA"/>
</p:tagLst>
</file>

<file path=ppt/theme/theme1.xml><?xml version="1.0" encoding="utf-8"?>
<a:theme xmlns:a="http://schemas.openxmlformats.org/drawingml/2006/main" name="plantilla ANI">
  <a:themeElements>
    <a:clrScheme name="ANI2">
      <a:dk1>
        <a:srgbClr val="386295"/>
      </a:dk1>
      <a:lt1>
        <a:sysClr val="window" lastClr="FFFFFF"/>
      </a:lt1>
      <a:dk2>
        <a:srgbClr val="244061"/>
      </a:dk2>
      <a:lt2>
        <a:srgbClr val="B8CCE4"/>
      </a:lt2>
      <a:accent1>
        <a:srgbClr val="D9D9D9"/>
      </a:accent1>
      <a:accent2>
        <a:srgbClr val="A6A6A6"/>
      </a:accent2>
      <a:accent3>
        <a:srgbClr val="7F7F7F"/>
      </a:accent3>
      <a:accent4>
        <a:srgbClr val="424242"/>
      </a:accent4>
      <a:accent5>
        <a:srgbClr val="E36C09"/>
      </a:accent5>
      <a:accent6>
        <a:srgbClr val="366092"/>
      </a:accent6>
      <a:hlink>
        <a:srgbClr val="244061"/>
      </a:hlink>
      <a:folHlink>
        <a:srgbClr val="1C314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>
          <a:spcBef>
            <a:spcPts val="600"/>
          </a:spcBef>
          <a:spcAft>
            <a:spcPts val="600"/>
          </a:spcAft>
          <a:buClr>
            <a:schemeClr val="accent2"/>
          </a:buClr>
          <a:buSzPct val="120000"/>
          <a:defRPr dirty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26</TotalTime>
  <Words>949</Words>
  <Application>Microsoft Office PowerPoint</Application>
  <PresentationFormat>Presentación en pantalla (4:3)</PresentationFormat>
  <Paragraphs>601</Paragraphs>
  <Slides>13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3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3</vt:i4>
      </vt:variant>
    </vt:vector>
  </HeadingPairs>
  <TitlesOfParts>
    <vt:vector size="18" baseType="lpstr">
      <vt:lpstr>Arial</vt:lpstr>
      <vt:lpstr>Calibri</vt:lpstr>
      <vt:lpstr>Candara</vt:lpstr>
      <vt:lpstr>plantilla ANI</vt:lpstr>
      <vt:lpstr>think-cell Slide</vt:lpstr>
      <vt:lpstr>ESTADISTICAS GESTIÓN DEL TALENTO HUMANO.</vt:lpstr>
      <vt:lpstr>Planta de personal</vt:lpstr>
      <vt:lpstr>Planta de personal aprobada-2017 </vt:lpstr>
      <vt:lpstr>Funcionarios de libre nombramiento y remoción seleccionados por meritocracia.</vt:lpstr>
      <vt:lpstr>Funcionarios de libre nombramiento y remoción seleccionados por meritocracia-2017 </vt:lpstr>
      <vt:lpstr>Cargos por nivel</vt:lpstr>
      <vt:lpstr>Cargos por nivel-2017 </vt:lpstr>
      <vt:lpstr>Evaluación desempeño</vt:lpstr>
      <vt:lpstr>Evaluación desempeño-2017 </vt:lpstr>
      <vt:lpstr>Declaración bienes y rentas</vt:lpstr>
      <vt:lpstr>Declaración bienes y rentas-2017 </vt:lpstr>
      <vt:lpstr>Funcionarios capacitados</vt:lpstr>
      <vt:lpstr>Funcionarios capacitados-2017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garita</dc:creator>
  <cp:lastModifiedBy>Diego Fernando Ramirez Sepulveda</cp:lastModifiedBy>
  <cp:revision>227</cp:revision>
  <cp:lastPrinted>2015-09-30T21:09:15Z</cp:lastPrinted>
  <dcterms:created xsi:type="dcterms:W3CDTF">2015-03-20T20:44:41Z</dcterms:created>
  <dcterms:modified xsi:type="dcterms:W3CDTF">2018-03-13T19:41:00Z</dcterms:modified>
</cp:coreProperties>
</file>